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5" r:id="rId8"/>
    <p:sldId id="268" r:id="rId9"/>
    <p:sldId id="272" r:id="rId10"/>
    <p:sldId id="274" r:id="rId11"/>
    <p:sldId id="276" r:id="rId12"/>
    <p:sldId id="277" r:id="rId13"/>
    <p:sldId id="278" r:id="rId14"/>
    <p:sldId id="269" r:id="rId15"/>
    <p:sldId id="263" r:id="rId16"/>
    <p:sldId id="270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67" d="100"/>
          <a:sy n="67" d="100"/>
        </p:scale>
        <p:origin x="564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5/31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5/3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31/05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31/05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31/05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31/05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31/05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31/05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31/05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31/05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 scope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pPr lvl="1"/>
            <a:r>
              <a:rPr lang="da-DK" dirty="0"/>
              <a:t>Understand your tool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React, Webpack and TypeScript documentation sit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 (and </a:t>
            </a:r>
            <a:r>
              <a:rPr lang="da-DK" b="1" dirty="0"/>
              <a:t>create-react-app-typescript</a:t>
            </a:r>
            <a:r>
              <a:rPr lang="da-DK" dirty="0"/>
              <a:t>)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16519515">
            <a:off x="7156096" y="1288785"/>
            <a:ext cx="2442404" cy="3842514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67408" y="5647889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7609" y="5649835"/>
            <a:ext cx="4896544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27170" y="5647889"/>
            <a:ext cx="3549540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pproach</a:t>
            </a:r>
          </a:p>
          <a:p>
            <a:pPr lvl="1"/>
            <a:r>
              <a:rPr lang="da-DK" dirty="0"/>
              <a:t>Look at each technology in isolation</a:t>
            </a:r>
          </a:p>
          <a:p>
            <a:pPr lvl="1"/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~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r>
              <a:rPr lang="da-DK" dirty="0"/>
              <a:t>Distributing</a:t>
            </a:r>
          </a:p>
          <a:p>
            <a:pPr lvl="1"/>
            <a:r>
              <a:rPr lang="da-DK" dirty="0"/>
              <a:t>Personalizing</a:t>
            </a:r>
          </a:p>
          <a:p>
            <a:pPr lvl="1"/>
            <a:r>
              <a:rPr lang="da-DK" dirty="0"/>
              <a:t>Integrating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endParaRPr lang="da-DK" dirty="0"/>
          </a:p>
          <a:p>
            <a:r>
              <a:rPr lang="da-DK" dirty="0"/>
              <a:t>Tech stack: .NET on Azure</a:t>
            </a:r>
          </a:p>
          <a:p>
            <a:pPr marL="360000" lvl="2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pPr lvl="1"/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Goals</a:t>
            </a:r>
          </a:p>
          <a:p>
            <a:pPr lvl="1"/>
            <a:r>
              <a:rPr lang="da-DK" dirty="0"/>
              <a:t>Focus on core features</a:t>
            </a:r>
          </a:p>
          <a:p>
            <a:pPr lvl="1"/>
            <a:r>
              <a:rPr lang="da-DK" dirty="0"/>
              <a:t>Performance</a:t>
            </a:r>
          </a:p>
          <a:p>
            <a:pPr lvl="1"/>
            <a:r>
              <a:rPr lang="da-DK" dirty="0"/>
              <a:t>Productivity</a:t>
            </a:r>
          </a:p>
          <a:p>
            <a:pPr lvl="1"/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>
          <a:xfrm>
            <a:off x="8423919" y="2583823"/>
            <a:ext cx="576064" cy="648072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29</TotalTime>
  <Words>460</Words>
  <Application>Microsoft Office PowerPoint</Application>
  <PresentationFormat>Widescreen</PresentationFormat>
  <Paragraphs>239</Paragraphs>
  <Slides>16</Slides>
  <Notes>0</Notes>
  <HiddenSlides>3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 </vt:lpstr>
      <vt:lpstr>Problem</vt:lpstr>
      <vt:lpstr>Templafy</vt:lpstr>
      <vt:lpstr>Our Rewrite</vt:lpstr>
      <vt:lpstr>TypeScript</vt:lpstr>
      <vt:lpstr>React</vt:lpstr>
      <vt:lpstr>React Reconcillation</vt:lpstr>
      <vt:lpstr>Webpack</vt:lpstr>
      <vt:lpstr>Webpack Hot Module Reload</vt:lpstr>
      <vt:lpstr>Visual Studio</vt:lpstr>
      <vt:lpstr>Thank you!</vt:lpstr>
      <vt:lpstr>Why not Angular 2?</vt:lpstr>
      <vt:lpstr>React Component Lifecycle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344</cp:revision>
  <cp:lastPrinted>2016-09-01T12:11:25Z</cp:lastPrinted>
  <dcterms:created xsi:type="dcterms:W3CDTF">2016-09-08T09:03:45Z</dcterms:created>
  <dcterms:modified xsi:type="dcterms:W3CDTF">2017-05-31T15:3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